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1041" r:id="rId2"/>
    <p:sldId id="2145706236" r:id="rId3"/>
    <p:sldId id="26422" r:id="rId4"/>
    <p:sldId id="2145706258" r:id="rId5"/>
    <p:sldId id="2145706242" r:id="rId6"/>
    <p:sldId id="2145706259" r:id="rId7"/>
    <p:sldId id="2145706260" r:id="rId8"/>
    <p:sldId id="2145706229" r:id="rId9"/>
    <p:sldId id="2145706255" r:id="rId10"/>
    <p:sldId id="2145706261" r:id="rId11"/>
    <p:sldId id="2145706246" r:id="rId12"/>
    <p:sldId id="2145706257" r:id="rId13"/>
    <p:sldId id="2145706266" r:id="rId14"/>
    <p:sldId id="2145706249" r:id="rId15"/>
    <p:sldId id="2145706250" r:id="rId16"/>
    <p:sldId id="2145706251" r:id="rId17"/>
    <p:sldId id="2145706248" r:id="rId18"/>
    <p:sldId id="2145706220" r:id="rId19"/>
    <p:sldId id="2145706262" r:id="rId20"/>
    <p:sldId id="2145706263" r:id="rId21"/>
    <p:sldId id="2145706264" r:id="rId22"/>
    <p:sldId id="2145706265" r:id="rId2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D6DBBB-A9B7-41ED-8971-0B7DF4441D17}" v="6" dt="2024-07-12T07:40:48.7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docChgLst>
    <pc:chgData name="Graf Thomas, INI-NET-VNC-HCS" userId="487bc3e3-9ce7-4cdd-b7b4-8899ea88d289" providerId="ADAL" clId="{48D6DBBB-A9B7-41ED-8971-0B7DF4441D17}"/>
    <pc:docChg chg="undo custSel addSld modSld sldOrd">
      <pc:chgData name="Graf Thomas, INI-NET-VNC-HCS" userId="487bc3e3-9ce7-4cdd-b7b4-8899ea88d289" providerId="ADAL" clId="{48D6DBBB-A9B7-41ED-8971-0B7DF4441D17}" dt="2024-07-12T08:37:40.745" v="593" actId="20577"/>
      <pc:docMkLst>
        <pc:docMk/>
      </pc:docMkLst>
      <pc:sldChg chg="modSp mod">
        <pc:chgData name="Graf Thomas, INI-NET-VNC-HCS" userId="487bc3e3-9ce7-4cdd-b7b4-8899ea88d289" providerId="ADAL" clId="{48D6DBBB-A9B7-41ED-8971-0B7DF4441D17}" dt="2024-07-12T07:41:41.216" v="591" actId="20577"/>
        <pc:sldMkLst>
          <pc:docMk/>
          <pc:sldMk cId="3578665336" sldId="1041"/>
        </pc:sldMkLst>
        <pc:spChg chg="mod">
          <ac:chgData name="Graf Thomas, INI-NET-VNC-HCS" userId="487bc3e3-9ce7-4cdd-b7b4-8899ea88d289" providerId="ADAL" clId="{48D6DBBB-A9B7-41ED-8971-0B7DF4441D17}" dt="2024-07-03T08:07:47.115" v="3" actId="20577"/>
          <ac:spMkLst>
            <pc:docMk/>
            <pc:sldMk cId="3578665336" sldId="1041"/>
            <ac:spMk id="5" creationId="{C26208B2-0D10-4C23-B2DE-372A62E98644}"/>
          </ac:spMkLst>
        </pc:spChg>
        <pc:spChg chg="mod">
          <ac:chgData name="Graf Thomas, INI-NET-VNC-HCS" userId="487bc3e3-9ce7-4cdd-b7b4-8899ea88d289" providerId="ADAL" clId="{48D6DBBB-A9B7-41ED-8971-0B7DF4441D17}" dt="2024-07-12T07:41:41.216" v="591" actId="20577"/>
          <ac:spMkLst>
            <pc:docMk/>
            <pc:sldMk cId="3578665336" sldId="1041"/>
            <ac:spMk id="6" creationId="{6CAA0765-1318-4A03-8F91-D3ECC43D8FA7}"/>
          </ac:spMkLst>
        </pc:spChg>
      </pc:sldChg>
      <pc:sldChg chg="modSp mod">
        <pc:chgData name="Graf Thomas, INI-NET-VNC-HCS" userId="487bc3e3-9ce7-4cdd-b7b4-8899ea88d289" providerId="ADAL" clId="{48D6DBBB-A9B7-41ED-8971-0B7DF4441D17}" dt="2024-07-12T08:37:18.806" v="592" actId="20577"/>
        <pc:sldMkLst>
          <pc:docMk/>
          <pc:sldMk cId="1980732846" sldId="2145706229"/>
        </pc:sldMkLst>
        <pc:spChg chg="mod">
          <ac:chgData name="Graf Thomas, INI-NET-VNC-HCS" userId="487bc3e3-9ce7-4cdd-b7b4-8899ea88d289" providerId="ADAL" clId="{48D6DBBB-A9B7-41ED-8971-0B7DF4441D17}" dt="2024-07-12T08:37:18.806" v="592" actId="20577"/>
          <ac:spMkLst>
            <pc:docMk/>
            <pc:sldMk cId="1980732846" sldId="2145706229"/>
            <ac:spMk id="3" creationId="{29C0DFD4-432D-4B0C-93DF-790441DCF5B9}"/>
          </ac:spMkLst>
        </pc:spChg>
      </pc:sldChg>
      <pc:sldChg chg="modSp mod">
        <pc:chgData name="Graf Thomas, INI-NET-VNC-HCS" userId="487bc3e3-9ce7-4cdd-b7b4-8899ea88d289" providerId="ADAL" clId="{48D6DBBB-A9B7-41ED-8971-0B7DF4441D17}" dt="2024-07-12T07:27:19.598" v="147" actId="20577"/>
        <pc:sldMkLst>
          <pc:docMk/>
          <pc:sldMk cId="2325717052" sldId="2145706246"/>
        </pc:sldMkLst>
        <pc:spChg chg="mod">
          <ac:chgData name="Graf Thomas, INI-NET-VNC-HCS" userId="487bc3e3-9ce7-4cdd-b7b4-8899ea88d289" providerId="ADAL" clId="{48D6DBBB-A9B7-41ED-8971-0B7DF4441D17}" dt="2024-07-12T07:27:19.598" v="147" actId="20577"/>
          <ac:spMkLst>
            <pc:docMk/>
            <pc:sldMk cId="2325717052" sldId="2145706246"/>
            <ac:spMk id="2" creationId="{A2A6719D-B9BE-6230-EF0C-2923835A8199}"/>
          </ac:spMkLst>
        </pc:spChg>
      </pc:sldChg>
      <pc:sldChg chg="delSp mod">
        <pc:chgData name="Graf Thomas, INI-NET-VNC-HCS" userId="487bc3e3-9ce7-4cdd-b7b4-8899ea88d289" providerId="ADAL" clId="{48D6DBBB-A9B7-41ED-8971-0B7DF4441D17}" dt="2024-07-03T08:08:24.604" v="4" actId="478"/>
        <pc:sldMkLst>
          <pc:docMk/>
          <pc:sldMk cId="1916646710" sldId="2145706248"/>
        </pc:sldMkLst>
        <pc:spChg chg="del">
          <ac:chgData name="Graf Thomas, INI-NET-VNC-HCS" userId="487bc3e3-9ce7-4cdd-b7b4-8899ea88d289" providerId="ADAL" clId="{48D6DBBB-A9B7-41ED-8971-0B7DF4441D17}" dt="2024-07-03T08:08:24.604" v="4" actId="478"/>
          <ac:spMkLst>
            <pc:docMk/>
            <pc:sldMk cId="1916646710" sldId="2145706248"/>
            <ac:spMk id="56" creationId="{09029945-3AFE-7E1C-A103-BDA3D6654C67}"/>
          </ac:spMkLst>
        </pc:spChg>
        <pc:grpChg chg="del">
          <ac:chgData name="Graf Thomas, INI-NET-VNC-HCS" userId="487bc3e3-9ce7-4cdd-b7b4-8899ea88d289" providerId="ADAL" clId="{48D6DBBB-A9B7-41ED-8971-0B7DF4441D17}" dt="2024-07-03T08:08:24.604" v="4" actId="478"/>
          <ac:grpSpMkLst>
            <pc:docMk/>
            <pc:sldMk cId="1916646710" sldId="2145706248"/>
            <ac:grpSpMk id="5" creationId="{3B251C8B-3DF7-9016-69AF-BE92FC105632}"/>
          </ac:grpSpMkLst>
        </pc:grpChg>
        <pc:picChg chg="del">
          <ac:chgData name="Graf Thomas, INI-NET-VNC-HCS" userId="487bc3e3-9ce7-4cdd-b7b4-8899ea88d289" providerId="ADAL" clId="{48D6DBBB-A9B7-41ED-8971-0B7DF4441D17}" dt="2024-07-03T08:08:24.604" v="4" actId="478"/>
          <ac:picMkLst>
            <pc:docMk/>
            <pc:sldMk cId="1916646710" sldId="2145706248"/>
            <ac:picMk id="60" creationId="{4755309F-4AB7-B7AE-1EBC-631DA2DAB40D}"/>
          </ac:picMkLst>
        </pc:picChg>
      </pc:sldChg>
      <pc:sldChg chg="modSp mod">
        <pc:chgData name="Graf Thomas, INI-NET-VNC-HCS" userId="487bc3e3-9ce7-4cdd-b7b4-8899ea88d289" providerId="ADAL" clId="{48D6DBBB-A9B7-41ED-8971-0B7DF4441D17}" dt="2024-07-03T08:07:38.854" v="2" actId="20577"/>
        <pc:sldMkLst>
          <pc:docMk/>
          <pc:sldMk cId="3678903494" sldId="2145706255"/>
        </pc:sldMkLst>
        <pc:spChg chg="mod">
          <ac:chgData name="Graf Thomas, INI-NET-VNC-HCS" userId="487bc3e3-9ce7-4cdd-b7b4-8899ea88d289" providerId="ADAL" clId="{48D6DBBB-A9B7-41ED-8971-0B7DF4441D17}" dt="2024-07-03T08:07:38.854" v="2" actId="20577"/>
          <ac:spMkLst>
            <pc:docMk/>
            <pc:sldMk cId="3678903494" sldId="2145706255"/>
            <ac:spMk id="3" creationId="{29C0DFD4-432D-4B0C-93DF-790441DCF5B9}"/>
          </ac:spMkLst>
        </pc:spChg>
      </pc:sldChg>
      <pc:sldChg chg="modSp mod">
        <pc:chgData name="Graf Thomas, INI-NET-VNC-HCS" userId="487bc3e3-9ce7-4cdd-b7b4-8899ea88d289" providerId="ADAL" clId="{48D6DBBB-A9B7-41ED-8971-0B7DF4441D17}" dt="2024-07-12T08:37:40.745" v="593" actId="20577"/>
        <pc:sldMkLst>
          <pc:docMk/>
          <pc:sldMk cId="1767383836" sldId="2145706263"/>
        </pc:sldMkLst>
        <pc:spChg chg="mod">
          <ac:chgData name="Graf Thomas, INI-NET-VNC-HCS" userId="487bc3e3-9ce7-4cdd-b7b4-8899ea88d289" providerId="ADAL" clId="{48D6DBBB-A9B7-41ED-8971-0B7DF4441D17}" dt="2024-07-12T08:37:40.745" v="593" actId="20577"/>
          <ac:spMkLst>
            <pc:docMk/>
            <pc:sldMk cId="1767383836" sldId="2145706263"/>
            <ac:spMk id="2" creationId="{FF20F271-6F0D-4AC0-BB1D-F5C338165C13}"/>
          </ac:spMkLst>
        </pc:spChg>
      </pc:sldChg>
      <pc:sldChg chg="modSp mod">
        <pc:chgData name="Graf Thomas, INI-NET-VNC-HCS" userId="487bc3e3-9ce7-4cdd-b7b4-8899ea88d289" providerId="ADAL" clId="{48D6DBBB-A9B7-41ED-8971-0B7DF4441D17}" dt="2024-07-03T08:07:08.548" v="1" actId="20577"/>
        <pc:sldMkLst>
          <pc:docMk/>
          <pc:sldMk cId="22946092" sldId="2145706264"/>
        </pc:sldMkLst>
        <pc:spChg chg="mod">
          <ac:chgData name="Graf Thomas, INI-NET-VNC-HCS" userId="487bc3e3-9ce7-4cdd-b7b4-8899ea88d289" providerId="ADAL" clId="{48D6DBBB-A9B7-41ED-8971-0B7DF4441D17}" dt="2024-07-03T08:07:08.548" v="1" actId="20577"/>
          <ac:spMkLst>
            <pc:docMk/>
            <pc:sldMk cId="22946092" sldId="2145706264"/>
            <ac:spMk id="2" creationId="{FF20F271-6F0D-4AC0-BB1D-F5C338165C13}"/>
          </ac:spMkLst>
        </pc:spChg>
        <pc:spChg chg="mod">
          <ac:chgData name="Graf Thomas, INI-NET-VNC-HCS" userId="487bc3e3-9ce7-4cdd-b7b4-8899ea88d289" providerId="ADAL" clId="{48D6DBBB-A9B7-41ED-8971-0B7DF4441D17}" dt="2024-07-03T08:07:02.973" v="0"/>
          <ac:spMkLst>
            <pc:docMk/>
            <pc:sldMk cId="22946092" sldId="2145706264"/>
            <ac:spMk id="3" creationId="{29C0DFD4-432D-4B0C-93DF-790441DCF5B9}"/>
          </ac:spMkLst>
        </pc:spChg>
      </pc:sldChg>
      <pc:sldChg chg="addSp delSp modSp add mod ord">
        <pc:chgData name="Graf Thomas, INI-NET-VNC-HCS" userId="487bc3e3-9ce7-4cdd-b7b4-8899ea88d289" providerId="ADAL" clId="{48D6DBBB-A9B7-41ED-8971-0B7DF4441D17}" dt="2024-07-12T07:41:20.297" v="585"/>
        <pc:sldMkLst>
          <pc:docMk/>
          <pc:sldMk cId="1336863920" sldId="2145706266"/>
        </pc:sldMkLst>
        <pc:spChg chg="add mod">
          <ac:chgData name="Graf Thomas, INI-NET-VNC-HCS" userId="487bc3e3-9ce7-4cdd-b7b4-8899ea88d289" providerId="ADAL" clId="{48D6DBBB-A9B7-41ED-8971-0B7DF4441D17}" dt="2024-07-12T07:41:20.297" v="585"/>
          <ac:spMkLst>
            <pc:docMk/>
            <pc:sldMk cId="1336863920" sldId="2145706266"/>
            <ac:spMk id="15" creationId="{81CF2E6B-29BB-3B8F-A4FD-C8E8A73C2282}"/>
          </ac:spMkLst>
        </pc:spChg>
        <pc:picChg chg="del">
          <ac:chgData name="Graf Thomas, INI-NET-VNC-HCS" userId="487bc3e3-9ce7-4cdd-b7b4-8899ea88d289" providerId="ADAL" clId="{48D6DBBB-A9B7-41ED-8971-0B7DF4441D17}" dt="2024-07-12T07:29:42.718" v="151" actId="478"/>
          <ac:picMkLst>
            <pc:docMk/>
            <pc:sldMk cId="1336863920" sldId="2145706266"/>
            <ac:picMk id="5" creationId="{107051E6-5C5B-3F57-3AC4-5FC80420DD88}"/>
          </ac:picMkLst>
        </pc:picChg>
        <pc:cxnChg chg="add mod">
          <ac:chgData name="Graf Thomas, INI-NET-VNC-HCS" userId="487bc3e3-9ce7-4cdd-b7b4-8899ea88d289" providerId="ADAL" clId="{48D6DBBB-A9B7-41ED-8971-0B7DF4441D17}" dt="2024-07-12T07:40:37.194" v="581" actId="692"/>
          <ac:cxnSpMkLst>
            <pc:docMk/>
            <pc:sldMk cId="1336863920" sldId="2145706266"/>
            <ac:cxnSpMk id="7" creationId="{83D1F104-0557-6EDA-760C-077B5A18DE98}"/>
          </ac:cxnSpMkLst>
        </pc:cxnChg>
        <pc:cxnChg chg="add mod">
          <ac:chgData name="Graf Thomas, INI-NET-VNC-HCS" userId="487bc3e3-9ce7-4cdd-b7b4-8899ea88d289" providerId="ADAL" clId="{48D6DBBB-A9B7-41ED-8971-0B7DF4441D17}" dt="2024-07-12T07:40:37.194" v="581" actId="692"/>
          <ac:cxnSpMkLst>
            <pc:docMk/>
            <pc:sldMk cId="1336863920" sldId="2145706266"/>
            <ac:cxnSpMk id="8" creationId="{A9F78903-BA21-F9F1-17B7-8DE3FB96072C}"/>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0" creationId="{012D5E84-A66D-A11B-4F94-5E8AB181E3F5}"/>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2" creationId="{203D64F1-8CC7-7EF0-8739-0387E0C463A0}"/>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3" creationId="{A55AE0AF-510C-910F-E4AC-8ADE75D1ED34}"/>
          </ac:cxnSpMkLst>
        </pc:cxnChg>
        <pc:cxnChg chg="add mod">
          <ac:chgData name="Graf Thomas, INI-NET-VNC-HCS" userId="487bc3e3-9ce7-4cdd-b7b4-8899ea88d289" providerId="ADAL" clId="{48D6DBBB-A9B7-41ED-8971-0B7DF4441D17}" dt="2024-07-12T07:40:52.476" v="583" actId="1076"/>
          <ac:cxnSpMkLst>
            <pc:docMk/>
            <pc:sldMk cId="1336863920" sldId="2145706266"/>
            <ac:cxnSpMk id="21" creationId="{DCC108B7-3175-A51B-346A-B1C4613E84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2.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2</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1</a:t>
            </a:fld>
            <a:endParaRPr lang="de-CH"/>
          </a:p>
        </p:txBody>
      </p:sp>
    </p:spTree>
    <p:extLst>
      <p:ext uri="{BB962C8B-B14F-4D97-AF65-F5344CB8AC3E}">
        <p14:creationId xmlns:p14="http://schemas.microsoft.com/office/powerpoint/2010/main" val="200149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3</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8</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9</a:t>
            </a:fld>
            <a:endParaRPr lang="de-CH"/>
          </a:p>
        </p:txBody>
      </p:sp>
    </p:spTree>
    <p:extLst>
      <p:ext uri="{BB962C8B-B14F-4D97-AF65-F5344CB8AC3E}">
        <p14:creationId xmlns:p14="http://schemas.microsoft.com/office/powerpoint/2010/main" val="2793986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2.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2.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tags" Target="../tags/tag3.xml"/><Relationship Id="rId21" Type="http://schemas.openxmlformats.org/officeDocument/2006/relationships/image" Target="../media/image16.png"/><Relationship Id="rId7" Type="http://schemas.openxmlformats.org/officeDocument/2006/relationships/tags" Target="../tags/tag7.xml"/><Relationship Id="rId12" Type="http://schemas.openxmlformats.org/officeDocument/2006/relationships/image" Target="../media/image7.jpeg"/><Relationship Id="rId17" Type="http://schemas.openxmlformats.org/officeDocument/2006/relationships/image" Target="../media/image12.png"/><Relationship Id="rId2" Type="http://schemas.openxmlformats.org/officeDocument/2006/relationships/tags" Target="../tags/tag2.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10.png"/><Relationship Id="rId10" Type="http://schemas.openxmlformats.org/officeDocument/2006/relationships/tags" Target="../tags/tag10.xml"/><Relationship Id="rId19" Type="http://schemas.openxmlformats.org/officeDocument/2006/relationships/image" Target="../media/image1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hyperlink" Target="https://datatracker.ietf.org/doc/html/rfc9254"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3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 Id="rId9" Type="http://schemas.openxmlformats.org/officeDocument/2006/relationships/hyperlink" Target="https://datatracker.ietf.org/doc/html/rfc8641#section-5"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3</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2.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a:p>
            <a:pPr>
              <a:buFont typeface="Wingdings" panose="05000000000000000000" pitchFamily="2" charset="2"/>
              <a:buChar char="Ø"/>
            </a:pPr>
            <a:r>
              <a:rPr lang="en-US" sz="1700" b="1" dirty="0">
                <a:solidFill>
                  <a:srgbClr val="FF0000"/>
                </a:solidFill>
              </a:rPr>
              <a:t>Changes in -05: </a:t>
            </a:r>
            <a:r>
              <a:rPr lang="en-US" sz="1700" dirty="0"/>
              <a:t>Changed </a:t>
            </a:r>
            <a:r>
              <a:rPr lang="en-US" sz="1700" dirty="0" err="1"/>
              <a:t>ietf</a:t>
            </a:r>
            <a:r>
              <a:rPr lang="en-US" sz="1700" dirty="0"/>
              <a:t>-yang-</a:t>
            </a:r>
            <a:r>
              <a:rPr lang="en-US" sz="1700" dirty="0" err="1"/>
              <a:t>push.yang</a:t>
            </a:r>
            <a:r>
              <a:rPr lang="en-US" sz="1700" dirty="0"/>
              <a:t> augmentation to resolve YANG issue that within a "case" statement identifiers need to be unique. </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6637527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a:p>
            <a:pPr>
              <a:buFont typeface="Wingdings" panose="05000000000000000000" pitchFamily="2" charset="2"/>
              <a:buChar char="Ø"/>
            </a:pPr>
            <a:r>
              <a:rPr lang="en-US" sz="1700" b="1" dirty="0">
                <a:solidFill>
                  <a:srgbClr val="FF0000"/>
                </a:solidFill>
              </a:rPr>
              <a:t>Changes in -01: </a:t>
            </a:r>
            <a:r>
              <a:rPr lang="en-US" sz="1700" dirty="0"/>
              <a:t>Section 3.1 is now detailing the relationship to YANG-Push to Message Broker Integration architecture and how its being applied.</a:t>
            </a:r>
          </a:p>
          <a:p>
            <a:pPr marL="457200" lvl="1" indent="0">
              <a:buNone/>
            </a:pPr>
            <a:endParaRPr lang="en-US" sz="1700" dirty="0"/>
          </a:p>
        </p:txBody>
      </p:sp>
    </p:spTree>
    <p:extLst>
      <p:ext uri="{BB962C8B-B14F-4D97-AF65-F5344CB8AC3E}">
        <p14:creationId xmlns:p14="http://schemas.microsoft.com/office/powerpoint/2010/main" val="2325717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611065" y="1139134"/>
            <a:ext cx="3209168" cy="5093702"/>
          </a:xfrm>
          <a:prstGeom prst="rect">
            <a:avLst/>
          </a:prstGeom>
          <a:noFill/>
        </p:spPr>
        <p:txBody>
          <a:bodyPr wrap="square">
            <a:spAutoFit/>
          </a:bodyPr>
          <a:lstStyle/>
          <a:p>
            <a:pPr algn="ctr"/>
            <a:r>
              <a:rPr lang="en-US" sz="2500" b="1" dirty="0">
                <a:latin typeface="+mj-lt"/>
              </a:rPr>
              <a:t>« </a:t>
            </a:r>
            <a:r>
              <a:rPr lang="en-US" sz="2500" dirty="0">
                <a:latin typeface="+mj-lt"/>
              </a:rPr>
              <a:t>Do you recognize that addressing those gaps are a prerequisite to enable an automated data processing chain? If yes, </a:t>
            </a:r>
            <a:r>
              <a:rPr lang="en-US" sz="2500" b="1" dirty="0">
                <a:solidFill>
                  <a:srgbClr val="FF0000"/>
                </a:solidFill>
                <a:latin typeface="+mj-lt"/>
              </a:rPr>
              <a:t>please consider to attend IETF 120 NETCONF working group session on Thursday 09:30 – 11:30 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8</a:t>
            </a:fld>
            <a:endParaRPr lang="de-CH"/>
          </a:p>
        </p:txBody>
      </p:sp>
    </p:spTree>
    <p:extLst>
      <p:ext uri="{BB962C8B-B14F-4D97-AF65-F5344CB8AC3E}">
        <p14:creationId xmlns:p14="http://schemas.microsoft.com/office/powerpoint/2010/main" val="6707725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9</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6</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2</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a:t>
            </a:r>
            <a:r>
              <a:rPr lang="en-US" sz="1700" b="1" dirty="0"/>
              <a:t>"state-changed", when the state change was observed in real-time.</a:t>
            </a:r>
          </a:p>
          <a:p>
            <a:pPr lvl="2"/>
            <a:r>
              <a:rPr lang="en-US" sz="1700" dirty="0"/>
              <a:t>For "on-change" subscriptions with the "sync on start option", the value of point-in-time </a:t>
            </a:r>
            <a:r>
              <a:rPr lang="en-US" sz="1700" b="1" dirty="0"/>
              <a:t>for the initial state is "initial-state".</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1</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2</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
        <p:nvSpPr>
          <p:cNvPr id="5" name="Oval 4">
            <a:extLst>
              <a:ext uri="{FF2B5EF4-FFF2-40B4-BE49-F238E27FC236}">
                <a16:creationId xmlns:a16="http://schemas.microsoft.com/office/drawing/2014/main" id="{2FA16CA0-B5C5-D597-7EE9-B043AE34C049}"/>
              </a:ext>
            </a:extLst>
          </p:cNvPr>
          <p:cNvSpPr/>
          <p:nvPr/>
        </p:nvSpPr>
        <p:spPr>
          <a:xfrm>
            <a:off x="3648915" y="2966031"/>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646226" y="556940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356326" y="5842425"/>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a:t>
            </a:r>
            <a:r>
              <a:rPr lang="en-US" sz="1700"/>
              <a:t>, Feng </a:t>
            </a:r>
            <a:r>
              <a:rPr lang="en-US" sz="1700" dirty="0"/>
              <a:t>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179949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a:p>
            <a:pPr>
              <a:buFont typeface="Wingdings" panose="05000000000000000000" pitchFamily="2" charset="2"/>
              <a:buChar char="Ø"/>
            </a:pPr>
            <a:r>
              <a:rPr lang="en-US" sz="1700" b="1" dirty="0">
                <a:solidFill>
                  <a:srgbClr val="FF0000"/>
                </a:solidFill>
              </a:rPr>
              <a:t>Changes in -05: </a:t>
            </a:r>
            <a:r>
              <a:rPr lang="en-US" sz="1700" dirty="0"/>
              <a:t>Updates and describes relationship to </a:t>
            </a:r>
            <a:r>
              <a:rPr lang="en-US" sz="1700" dirty="0">
                <a:hlinkClick r:id="rId4"/>
              </a:rPr>
              <a:t>RFC 5277</a:t>
            </a:r>
            <a:r>
              <a:rPr lang="en-US" sz="1700" dirty="0"/>
              <a:t>, </a:t>
            </a:r>
            <a:r>
              <a:rPr lang="en-US" sz="1700" dirty="0">
                <a:hlinkClick r:id="rId7"/>
              </a:rPr>
              <a:t>RFC 8639</a:t>
            </a:r>
            <a:r>
              <a:rPr lang="en-US" sz="1700" dirty="0"/>
              <a:t>, </a:t>
            </a:r>
            <a:r>
              <a:rPr lang="en-US" sz="1700" dirty="0">
                <a:hlinkClick r:id="rId5"/>
              </a:rPr>
              <a:t>RFC 7951 </a:t>
            </a:r>
            <a:r>
              <a:rPr lang="en-US" sz="1700" dirty="0"/>
              <a:t>and </a:t>
            </a:r>
            <a:r>
              <a:rPr lang="en-US" sz="1700" dirty="0">
                <a:hlinkClick r:id="rId8"/>
              </a:rPr>
              <a:t>RFC 9254 </a:t>
            </a:r>
            <a:r>
              <a:rPr lang="en-US" sz="1700" dirty="0"/>
              <a:t>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9"/>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218410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a:p>
            <a:r>
              <a:rPr lang="en-US" sz="1700" b="1" dirty="0">
                <a:solidFill>
                  <a:srgbClr val="FF0000"/>
                </a:solidFill>
              </a:rPr>
              <a:t>Changes in -06: </a:t>
            </a:r>
            <a:r>
              <a:rPr lang="en-US" sz="1700" dirty="0"/>
              <a:t>Defined new NETCONF and YANG-Push notification capabilities and described how a systems discovers them.</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a:p>
            <a:pPr>
              <a:buFont typeface="Wingdings" panose="05000000000000000000" pitchFamily="2" charset="2"/>
              <a:buChar char="Ø"/>
            </a:pPr>
            <a:r>
              <a:rPr lang="en-US" sz="1700" b="1" dirty="0">
                <a:solidFill>
                  <a:srgbClr val="FF0000"/>
                </a:solidFill>
              </a:rPr>
              <a:t>Changes in -02:</a:t>
            </a:r>
            <a:r>
              <a:rPr lang="en-US" sz="1700" dirty="0"/>
              <a:t> Changed semantics;  observation-time describes when and point-in-time at which point in time. Added new YANG-Push notification capabilities.</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573</Words>
  <Application>Microsoft Office PowerPoint</Application>
  <PresentationFormat>Widescreen</PresentationFormat>
  <Paragraphs>425</Paragraphs>
  <Slides>22</Slides>
  <Notes>1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2</vt:i4>
      </vt:variant>
    </vt:vector>
  </HeadingPairs>
  <TitlesOfParts>
    <vt:vector size="28"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Extend Netconf Notifications with Hostname and Sequence Number For push-update and push-change-update</vt:lpstr>
      <vt:lpstr>Extend YANG-Push Notifications with Observation Timestamping For push-update and push-change-update</vt:lpstr>
      <vt:lpstr>Support of Versioning in YANG Notifications Subscription For subscription state change notification messages</vt:lpstr>
      <vt:lpstr>Augmented-by Addition YANG Library Extension</vt:lpstr>
      <vt:lpstr>Validate anydata schema subtree with YANG Library RFC 7950 Extension</vt:lpstr>
      <vt:lpstr>Address YANG Specification and Integration Gaps Aiming for an automated data processing pipeline</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lpstr>YANG model for NETCONF Event Notifications draft-ahuang-netconf-notif-yang-05  - Status and Next Steps</vt:lpstr>
      <vt:lpstr>Extend Netconf Notifications with Hostname and Sequence Number draft-tgraf-netconf-notif-sequencing-06  - Status and Next Steps</vt:lpstr>
      <vt:lpstr>Extend YANG-Push Notifications with Observation Timestamping draft-tgraf-netconf-yang-push-observation-time-02  - Status and Next Steps</vt:lpstr>
      <vt:lpstr>Support of Versioning in YANG Notifications Subscription draft-ietf-netconf-yang-notifications-versioning-04  - Statu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1</cp:revision>
  <dcterms:created xsi:type="dcterms:W3CDTF">2019-11-29T14:22:02Z</dcterms:created>
  <dcterms:modified xsi:type="dcterms:W3CDTF">2024-07-12T08:3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